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1752" r:id="rId6"/>
    <p:sldId id="258" r:id="rId7"/>
    <p:sldId id="285" r:id="rId8"/>
    <p:sldId id="262" r:id="rId9"/>
    <p:sldId id="268" r:id="rId10"/>
    <p:sldId id="263" r:id="rId11"/>
    <p:sldId id="267" r:id="rId12"/>
    <p:sldId id="264" r:id="rId13"/>
    <p:sldId id="273" r:id="rId14"/>
    <p:sldId id="265" r:id="rId15"/>
    <p:sldId id="283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66" d="100"/>
          <a:sy n="66" d="100"/>
        </p:scale>
        <p:origin x="668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10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0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zh-CN" altLang="en-US" sz="2000" cap="all" dirty="0">
                <a:solidFill>
                  <a:schemeClr val="bg1"/>
                </a:solidFill>
                <a:cs typeface="+mn-ea"/>
                <a:sym typeface="+mn-lt"/>
              </a:rPr>
              <a:t>平台应用研发</a:t>
            </a:r>
            <a:endParaRPr lang="en-US" altLang="zh-CN" sz="2000" cap="all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/>
          </a:bodyPr>
          <a:lstStyle/>
          <a:p>
            <a:r>
              <a:rPr lang="zh-CN" altLang="en-US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述职答辩</a:t>
            </a: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答辩人：陈仲贤</a:t>
            </a:r>
            <a:endParaRPr lang="en-US" altLang="zh-CN" sz="1800" b="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586192D-DCB4-40BC-8AAD-BEC112EC1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2726098"/>
            <a:ext cx="10845800" cy="1627325"/>
            <a:chOff x="673100" y="2726098"/>
            <a:chExt cx="10845800" cy="1627325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1581534" y="3069772"/>
              <a:ext cx="706024" cy="706024"/>
              <a:chOff x="2077663" y="2690079"/>
              <a:chExt cx="980218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3662261" y="3069772"/>
              <a:ext cx="706024" cy="706024"/>
              <a:chOff x="2077663" y="2690079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F4290BE7-9608-498E-8ED2-F40FD2A1344E}"/>
                </a:ext>
              </a:extLst>
            </p:cNvPr>
            <p:cNvGrpSpPr/>
            <p:nvPr/>
          </p:nvGrpSpPr>
          <p:grpSpPr>
            <a:xfrm>
              <a:off x="5399314" y="2726098"/>
              <a:ext cx="1393372" cy="1393372"/>
              <a:chOff x="2077663" y="2690079"/>
              <a:chExt cx="980218" cy="980218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1B1BDCA5-944E-4A4F-A5D7-D95AEAD1E29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E969B816-27C6-414F-8AA7-A76A3222F7A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C4E37DD-4B81-42E4-9309-580474D5E7FD}"/>
                </a:ext>
              </a:extLst>
            </p:cNvPr>
            <p:cNvGrpSpPr/>
            <p:nvPr/>
          </p:nvGrpSpPr>
          <p:grpSpPr>
            <a:xfrm>
              <a:off x="7823715" y="3069772"/>
              <a:ext cx="706024" cy="706024"/>
              <a:chOff x="2077663" y="2690079"/>
              <a:chExt cx="980218" cy="980218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B106B5CF-358C-4D7C-B7DB-282937E58673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534A74AE-DB50-4EE8-A7B9-3AFB5282737B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21750EF2-802B-4AD7-8D53-D8E72516D54C}"/>
                </a:ext>
              </a:extLst>
            </p:cNvPr>
            <p:cNvGrpSpPr/>
            <p:nvPr/>
          </p:nvGrpSpPr>
          <p:grpSpPr>
            <a:xfrm>
              <a:off x="9904442" y="3069772"/>
              <a:ext cx="706024" cy="706024"/>
              <a:chOff x="2077663" y="2690079"/>
              <a:chExt cx="980218" cy="980218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856D5ED0-2654-43D0-826D-7CE2DED0810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50C1BCF7-57E4-41C6-9FE7-FEAFFE86B7E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CC8FA32-5E42-4983-9D0B-8C97D4DF2C61}"/>
                </a:ext>
              </a:extLst>
            </p:cNvPr>
            <p:cNvSpPr/>
            <p:nvPr/>
          </p:nvSpPr>
          <p:spPr bwMode="auto">
            <a:xfrm>
              <a:off x="1009839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语言表达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8724BA88-89B1-4E51-8307-CF322D13641D}"/>
                </a:ext>
              </a:extLst>
            </p:cNvPr>
            <p:cNvSpPr/>
            <p:nvPr/>
          </p:nvSpPr>
          <p:spPr bwMode="auto">
            <a:xfrm>
              <a:off x="3090566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代码重构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F5820974-7EC8-4375-86AE-E4C30FE1EAE9}"/>
                </a:ext>
              </a:extLst>
            </p:cNvPr>
            <p:cNvSpPr/>
            <p:nvPr/>
          </p:nvSpPr>
          <p:spPr bwMode="auto">
            <a:xfrm>
              <a:off x="7252020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源码阅读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D418AB33-C541-4ECA-BBC7-E1080905DF18}"/>
                </a:ext>
              </a:extLst>
            </p:cNvPr>
            <p:cNvSpPr/>
            <p:nvPr/>
          </p:nvSpPr>
          <p:spPr bwMode="auto">
            <a:xfrm>
              <a:off x="9332747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业务场景分析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未来规划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怎么去提升能力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未来规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DEF281C-97E6-4384-88BA-8976F17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2" cy="5603557"/>
            <a:chOff x="1889598" y="1254441"/>
            <a:chExt cx="8420063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6AC6544-C3A3-43B4-89CB-82D08E2CD03C}"/>
                </a:ext>
              </a:extLst>
            </p:cNvPr>
            <p:cNvSpPr/>
            <p:nvPr/>
          </p:nvSpPr>
          <p:spPr>
            <a:xfrm>
              <a:off x="3778986" y="5538097"/>
              <a:ext cx="271281" cy="211488"/>
            </a:xfrm>
            <a:custGeom>
              <a:avLst/>
              <a:gdLst>
                <a:gd name="connsiteX0" fmla="*/ 427673 w 608989"/>
                <a:gd name="connsiteY0" fmla="*/ 372781 h 474764"/>
                <a:gd name="connsiteX1" fmla="*/ 393797 w 608989"/>
                <a:gd name="connsiteY1" fmla="*/ 406614 h 474764"/>
                <a:gd name="connsiteX2" fmla="*/ 427673 w 608989"/>
                <a:gd name="connsiteY2" fmla="*/ 440448 h 474764"/>
                <a:gd name="connsiteX3" fmla="*/ 461549 w 608989"/>
                <a:gd name="connsiteY3" fmla="*/ 406614 h 474764"/>
                <a:gd name="connsiteX4" fmla="*/ 427673 w 608989"/>
                <a:gd name="connsiteY4" fmla="*/ 372781 h 474764"/>
                <a:gd name="connsiteX5" fmla="*/ 149568 w 608989"/>
                <a:gd name="connsiteY5" fmla="*/ 372781 h 474764"/>
                <a:gd name="connsiteX6" fmla="*/ 115692 w 608989"/>
                <a:gd name="connsiteY6" fmla="*/ 406614 h 474764"/>
                <a:gd name="connsiteX7" fmla="*/ 149568 w 608989"/>
                <a:gd name="connsiteY7" fmla="*/ 440448 h 474764"/>
                <a:gd name="connsiteX8" fmla="*/ 183444 w 608989"/>
                <a:gd name="connsiteY8" fmla="*/ 406614 h 474764"/>
                <a:gd name="connsiteX9" fmla="*/ 149568 w 608989"/>
                <a:gd name="connsiteY9" fmla="*/ 372781 h 474764"/>
                <a:gd name="connsiteX10" fmla="*/ 413316 w 608989"/>
                <a:gd name="connsiteY10" fmla="*/ 194754 h 474764"/>
                <a:gd name="connsiteX11" fmla="*/ 413316 w 608989"/>
                <a:gd name="connsiteY11" fmla="*/ 269348 h 474764"/>
                <a:gd name="connsiteX12" fmla="*/ 477196 w 608989"/>
                <a:gd name="connsiteY12" fmla="*/ 269348 h 474764"/>
                <a:gd name="connsiteX13" fmla="*/ 483971 w 608989"/>
                <a:gd name="connsiteY13" fmla="*/ 256137 h 474764"/>
                <a:gd name="connsiteX14" fmla="*/ 449611 w 608989"/>
                <a:gd name="connsiteY14" fmla="*/ 207965 h 474764"/>
                <a:gd name="connsiteX15" fmla="*/ 424124 w 608989"/>
                <a:gd name="connsiteY15" fmla="*/ 194754 h 474764"/>
                <a:gd name="connsiteX16" fmla="*/ 231999 w 608989"/>
                <a:gd name="connsiteY16" fmla="*/ 194754 h 474764"/>
                <a:gd name="connsiteX17" fmla="*/ 205705 w 608989"/>
                <a:gd name="connsiteY17" fmla="*/ 207321 h 474764"/>
                <a:gd name="connsiteX18" fmla="*/ 165860 w 608989"/>
                <a:gd name="connsiteY18" fmla="*/ 256782 h 474764"/>
                <a:gd name="connsiteX19" fmla="*/ 171990 w 608989"/>
                <a:gd name="connsiteY19" fmla="*/ 269348 h 474764"/>
                <a:gd name="connsiteX20" fmla="*/ 374439 w 608989"/>
                <a:gd name="connsiteY20" fmla="*/ 269348 h 474764"/>
                <a:gd name="connsiteX21" fmla="*/ 374439 w 608989"/>
                <a:gd name="connsiteY21" fmla="*/ 194754 h 474764"/>
                <a:gd name="connsiteX22" fmla="*/ 217965 w 608989"/>
                <a:gd name="connsiteY22" fmla="*/ 162371 h 474764"/>
                <a:gd name="connsiteX23" fmla="*/ 442030 w 608989"/>
                <a:gd name="connsiteY23" fmla="*/ 162371 h 474764"/>
                <a:gd name="connsiteX24" fmla="*/ 477196 w 608989"/>
                <a:gd name="connsiteY24" fmla="*/ 180577 h 474764"/>
                <a:gd name="connsiteX25" fmla="*/ 524783 w 608989"/>
                <a:gd name="connsiteY25" fmla="*/ 248243 h 474764"/>
                <a:gd name="connsiteX26" fmla="*/ 544625 w 608989"/>
                <a:gd name="connsiteY26" fmla="*/ 257910 h 474764"/>
                <a:gd name="connsiteX27" fmla="*/ 550594 w 608989"/>
                <a:gd name="connsiteY27" fmla="*/ 257104 h 474764"/>
                <a:gd name="connsiteX28" fmla="*/ 586728 w 608989"/>
                <a:gd name="connsiteY28" fmla="*/ 245826 h 474764"/>
                <a:gd name="connsiteX29" fmla="*/ 605118 w 608989"/>
                <a:gd name="connsiteY29" fmla="*/ 249693 h 474764"/>
                <a:gd name="connsiteX30" fmla="*/ 608828 w 608989"/>
                <a:gd name="connsiteY30" fmla="*/ 264354 h 474764"/>
                <a:gd name="connsiteX31" fmla="*/ 590277 w 608989"/>
                <a:gd name="connsiteY31" fmla="*/ 401942 h 474764"/>
                <a:gd name="connsiteX32" fmla="*/ 563337 w 608989"/>
                <a:gd name="connsiteY32" fmla="*/ 425625 h 474764"/>
                <a:gd name="connsiteX33" fmla="*/ 493166 w 608989"/>
                <a:gd name="connsiteY33" fmla="*/ 425625 h 474764"/>
                <a:gd name="connsiteX34" fmla="*/ 427673 w 608989"/>
                <a:gd name="connsiteY34" fmla="*/ 474764 h 474764"/>
                <a:gd name="connsiteX35" fmla="*/ 362341 w 608989"/>
                <a:gd name="connsiteY35" fmla="*/ 425625 h 474764"/>
                <a:gd name="connsiteX36" fmla="*/ 215061 w 608989"/>
                <a:gd name="connsiteY36" fmla="*/ 425625 h 474764"/>
                <a:gd name="connsiteX37" fmla="*/ 149568 w 608989"/>
                <a:gd name="connsiteY37" fmla="*/ 474764 h 474764"/>
                <a:gd name="connsiteX38" fmla="*/ 84074 w 608989"/>
                <a:gd name="connsiteY38" fmla="*/ 425625 h 474764"/>
                <a:gd name="connsiteX39" fmla="*/ 21485 w 608989"/>
                <a:gd name="connsiteY39" fmla="*/ 425625 h 474764"/>
                <a:gd name="connsiteX40" fmla="*/ 4869 w 608989"/>
                <a:gd name="connsiteY40" fmla="*/ 418214 h 474764"/>
                <a:gd name="connsiteX41" fmla="*/ 352 w 608989"/>
                <a:gd name="connsiteY41" fmla="*/ 400814 h 474764"/>
                <a:gd name="connsiteX42" fmla="*/ 15516 w 608989"/>
                <a:gd name="connsiteY42" fmla="*/ 309304 h 474764"/>
                <a:gd name="connsiteX43" fmla="*/ 41649 w 608989"/>
                <a:gd name="connsiteY43" fmla="*/ 281593 h 474764"/>
                <a:gd name="connsiteX44" fmla="*/ 95850 w 608989"/>
                <a:gd name="connsiteY44" fmla="*/ 269348 h 474764"/>
                <a:gd name="connsiteX45" fmla="*/ 125532 w 608989"/>
                <a:gd name="connsiteY45" fmla="*/ 250660 h 474764"/>
                <a:gd name="connsiteX46" fmla="*/ 181992 w 608989"/>
                <a:gd name="connsiteY46" fmla="*/ 179771 h 474764"/>
                <a:gd name="connsiteX47" fmla="*/ 217965 w 608989"/>
                <a:gd name="connsiteY47" fmla="*/ 162371 h 474764"/>
                <a:gd name="connsiteX48" fmla="*/ 168447 w 608989"/>
                <a:gd name="connsiteY48" fmla="*/ 0 h 474764"/>
                <a:gd name="connsiteX49" fmla="*/ 238143 w 608989"/>
                <a:gd name="connsiteY49" fmla="*/ 47040 h 474764"/>
                <a:gd name="connsiteX50" fmla="*/ 416257 w 608989"/>
                <a:gd name="connsiteY50" fmla="*/ 47040 h 474764"/>
                <a:gd name="connsiteX51" fmla="*/ 421743 w 608989"/>
                <a:gd name="connsiteY51" fmla="*/ 47524 h 474764"/>
                <a:gd name="connsiteX52" fmla="*/ 491762 w 608989"/>
                <a:gd name="connsiteY52" fmla="*/ 0 h 474764"/>
                <a:gd name="connsiteX53" fmla="*/ 556941 w 608989"/>
                <a:gd name="connsiteY53" fmla="*/ 37858 h 474764"/>
                <a:gd name="connsiteX54" fmla="*/ 557103 w 608989"/>
                <a:gd name="connsiteY54" fmla="*/ 46396 h 474764"/>
                <a:gd name="connsiteX55" fmla="*/ 549520 w 608989"/>
                <a:gd name="connsiteY55" fmla="*/ 50262 h 474764"/>
                <a:gd name="connsiteX56" fmla="*/ 500635 w 608989"/>
                <a:gd name="connsiteY56" fmla="*/ 50423 h 474764"/>
                <a:gd name="connsiteX57" fmla="*/ 496279 w 608989"/>
                <a:gd name="connsiteY57" fmla="*/ 52357 h 474764"/>
                <a:gd name="connsiteX58" fmla="*/ 495957 w 608989"/>
                <a:gd name="connsiteY58" fmla="*/ 52840 h 474764"/>
                <a:gd name="connsiteX59" fmla="*/ 479823 w 608989"/>
                <a:gd name="connsiteY59" fmla="*/ 75071 h 474764"/>
                <a:gd name="connsiteX60" fmla="*/ 495634 w 608989"/>
                <a:gd name="connsiteY60" fmla="*/ 97142 h 474764"/>
                <a:gd name="connsiteX61" fmla="*/ 495957 w 608989"/>
                <a:gd name="connsiteY61" fmla="*/ 97625 h 474764"/>
                <a:gd name="connsiteX62" fmla="*/ 499345 w 608989"/>
                <a:gd name="connsiteY62" fmla="*/ 99719 h 474764"/>
                <a:gd name="connsiteX63" fmla="*/ 549520 w 608989"/>
                <a:gd name="connsiteY63" fmla="*/ 99880 h 474764"/>
                <a:gd name="connsiteX64" fmla="*/ 556941 w 608989"/>
                <a:gd name="connsiteY64" fmla="*/ 104069 h 474764"/>
                <a:gd name="connsiteX65" fmla="*/ 556941 w 608989"/>
                <a:gd name="connsiteY65" fmla="*/ 112285 h 474764"/>
                <a:gd name="connsiteX66" fmla="*/ 491762 w 608989"/>
                <a:gd name="connsiteY66" fmla="*/ 150304 h 474764"/>
                <a:gd name="connsiteX67" fmla="*/ 421743 w 608989"/>
                <a:gd name="connsiteY67" fmla="*/ 102780 h 474764"/>
                <a:gd name="connsiteX68" fmla="*/ 416257 w 608989"/>
                <a:gd name="connsiteY68" fmla="*/ 103263 h 474764"/>
                <a:gd name="connsiteX69" fmla="*/ 238143 w 608989"/>
                <a:gd name="connsiteY69" fmla="*/ 103263 h 474764"/>
                <a:gd name="connsiteX70" fmla="*/ 168447 w 608989"/>
                <a:gd name="connsiteY70" fmla="*/ 150304 h 474764"/>
                <a:gd name="connsiteX71" fmla="*/ 103267 w 608989"/>
                <a:gd name="connsiteY71" fmla="*/ 112446 h 474764"/>
                <a:gd name="connsiteX72" fmla="*/ 103106 w 608989"/>
                <a:gd name="connsiteY72" fmla="*/ 103908 h 474764"/>
                <a:gd name="connsiteX73" fmla="*/ 110689 w 608989"/>
                <a:gd name="connsiteY73" fmla="*/ 99880 h 474764"/>
                <a:gd name="connsiteX74" fmla="*/ 159573 w 608989"/>
                <a:gd name="connsiteY74" fmla="*/ 99880 h 474764"/>
                <a:gd name="connsiteX75" fmla="*/ 164091 w 608989"/>
                <a:gd name="connsiteY75" fmla="*/ 97786 h 474764"/>
                <a:gd name="connsiteX76" fmla="*/ 164252 w 608989"/>
                <a:gd name="connsiteY76" fmla="*/ 97464 h 474764"/>
                <a:gd name="connsiteX77" fmla="*/ 180385 w 608989"/>
                <a:gd name="connsiteY77" fmla="*/ 75232 h 474764"/>
                <a:gd name="connsiteX78" fmla="*/ 164575 w 608989"/>
                <a:gd name="connsiteY78" fmla="*/ 53162 h 474764"/>
                <a:gd name="connsiteX79" fmla="*/ 164252 w 608989"/>
                <a:gd name="connsiteY79" fmla="*/ 52679 h 474764"/>
                <a:gd name="connsiteX80" fmla="*/ 160864 w 608989"/>
                <a:gd name="connsiteY80" fmla="*/ 50423 h 474764"/>
                <a:gd name="connsiteX81" fmla="*/ 160541 w 608989"/>
                <a:gd name="connsiteY81" fmla="*/ 50423 h 474764"/>
                <a:gd name="connsiteX82" fmla="*/ 110689 w 608989"/>
                <a:gd name="connsiteY82" fmla="*/ 50262 h 474764"/>
                <a:gd name="connsiteX83" fmla="*/ 103267 w 608989"/>
                <a:gd name="connsiteY83" fmla="*/ 46235 h 474764"/>
                <a:gd name="connsiteX84" fmla="*/ 103267 w 608989"/>
                <a:gd name="connsiteY84" fmla="*/ 37858 h 474764"/>
                <a:gd name="connsiteX85" fmla="*/ 168447 w 608989"/>
                <a:gd name="connsiteY85" fmla="*/ 0 h 47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608989" h="474764">
                  <a:moveTo>
                    <a:pt x="427673" y="372781"/>
                  </a:moveTo>
                  <a:cubicBezTo>
                    <a:pt x="408960" y="372781"/>
                    <a:pt x="393797" y="387926"/>
                    <a:pt x="393797" y="406614"/>
                  </a:cubicBezTo>
                  <a:cubicBezTo>
                    <a:pt x="393797" y="425303"/>
                    <a:pt x="408960" y="440448"/>
                    <a:pt x="427673" y="440448"/>
                  </a:cubicBezTo>
                  <a:cubicBezTo>
                    <a:pt x="446385" y="440448"/>
                    <a:pt x="461549" y="425303"/>
                    <a:pt x="461549" y="406614"/>
                  </a:cubicBezTo>
                  <a:cubicBezTo>
                    <a:pt x="461549" y="387926"/>
                    <a:pt x="446385" y="372781"/>
                    <a:pt x="427673" y="372781"/>
                  </a:cubicBezTo>
                  <a:close/>
                  <a:moveTo>
                    <a:pt x="149568" y="372781"/>
                  </a:moveTo>
                  <a:cubicBezTo>
                    <a:pt x="130855" y="372781"/>
                    <a:pt x="115692" y="387926"/>
                    <a:pt x="115692" y="406614"/>
                  </a:cubicBezTo>
                  <a:cubicBezTo>
                    <a:pt x="115692" y="425303"/>
                    <a:pt x="130855" y="440448"/>
                    <a:pt x="149568" y="440448"/>
                  </a:cubicBezTo>
                  <a:cubicBezTo>
                    <a:pt x="168280" y="440448"/>
                    <a:pt x="183444" y="425303"/>
                    <a:pt x="183444" y="406614"/>
                  </a:cubicBezTo>
                  <a:cubicBezTo>
                    <a:pt x="183444" y="387926"/>
                    <a:pt x="168280" y="372781"/>
                    <a:pt x="149568" y="372781"/>
                  </a:cubicBezTo>
                  <a:close/>
                  <a:moveTo>
                    <a:pt x="413316" y="194754"/>
                  </a:moveTo>
                  <a:lnTo>
                    <a:pt x="413316" y="269348"/>
                  </a:lnTo>
                  <a:lnTo>
                    <a:pt x="477196" y="269348"/>
                  </a:lnTo>
                  <a:cubicBezTo>
                    <a:pt x="486068" y="269348"/>
                    <a:pt x="489133" y="263387"/>
                    <a:pt x="483971" y="256137"/>
                  </a:cubicBezTo>
                  <a:lnTo>
                    <a:pt x="449611" y="207965"/>
                  </a:lnTo>
                  <a:cubicBezTo>
                    <a:pt x="444449" y="200715"/>
                    <a:pt x="432996" y="194754"/>
                    <a:pt x="424124" y="194754"/>
                  </a:cubicBezTo>
                  <a:close/>
                  <a:moveTo>
                    <a:pt x="231999" y="194754"/>
                  </a:moveTo>
                  <a:cubicBezTo>
                    <a:pt x="223127" y="194754"/>
                    <a:pt x="211351" y="200393"/>
                    <a:pt x="205705" y="207321"/>
                  </a:cubicBezTo>
                  <a:lnTo>
                    <a:pt x="165860" y="256782"/>
                  </a:lnTo>
                  <a:cubicBezTo>
                    <a:pt x="160376" y="263709"/>
                    <a:pt x="163118" y="269348"/>
                    <a:pt x="171990" y="269348"/>
                  </a:cubicBezTo>
                  <a:lnTo>
                    <a:pt x="374439" y="269348"/>
                  </a:lnTo>
                  <a:lnTo>
                    <a:pt x="374439" y="194754"/>
                  </a:lnTo>
                  <a:close/>
                  <a:moveTo>
                    <a:pt x="217965" y="162371"/>
                  </a:moveTo>
                  <a:lnTo>
                    <a:pt x="442030" y="162371"/>
                  </a:lnTo>
                  <a:cubicBezTo>
                    <a:pt x="454612" y="162371"/>
                    <a:pt x="470098" y="170427"/>
                    <a:pt x="477196" y="180577"/>
                  </a:cubicBezTo>
                  <a:lnTo>
                    <a:pt x="524783" y="248243"/>
                  </a:lnTo>
                  <a:cubicBezTo>
                    <a:pt x="528816" y="254043"/>
                    <a:pt x="536882" y="257910"/>
                    <a:pt x="544625" y="257910"/>
                  </a:cubicBezTo>
                  <a:cubicBezTo>
                    <a:pt x="546883" y="257910"/>
                    <a:pt x="548819" y="257748"/>
                    <a:pt x="550594" y="257104"/>
                  </a:cubicBezTo>
                  <a:lnTo>
                    <a:pt x="586728" y="245826"/>
                  </a:lnTo>
                  <a:cubicBezTo>
                    <a:pt x="593987" y="243571"/>
                    <a:pt x="600924" y="245021"/>
                    <a:pt x="605118" y="249693"/>
                  </a:cubicBezTo>
                  <a:cubicBezTo>
                    <a:pt x="608183" y="253398"/>
                    <a:pt x="609473" y="258554"/>
                    <a:pt x="608828" y="264354"/>
                  </a:cubicBezTo>
                  <a:lnTo>
                    <a:pt x="590277" y="401942"/>
                  </a:lnTo>
                  <a:cubicBezTo>
                    <a:pt x="588664" y="414992"/>
                    <a:pt x="576565" y="425625"/>
                    <a:pt x="563337" y="425625"/>
                  </a:cubicBezTo>
                  <a:lnTo>
                    <a:pt x="493166" y="425625"/>
                  </a:lnTo>
                  <a:cubicBezTo>
                    <a:pt x="484939" y="453981"/>
                    <a:pt x="458806" y="474764"/>
                    <a:pt x="427673" y="474764"/>
                  </a:cubicBezTo>
                  <a:cubicBezTo>
                    <a:pt x="396700" y="474764"/>
                    <a:pt x="370568" y="453981"/>
                    <a:pt x="362341" y="425625"/>
                  </a:cubicBezTo>
                  <a:lnTo>
                    <a:pt x="215061" y="425625"/>
                  </a:lnTo>
                  <a:cubicBezTo>
                    <a:pt x="206834" y="453981"/>
                    <a:pt x="180540" y="474764"/>
                    <a:pt x="149568" y="474764"/>
                  </a:cubicBezTo>
                  <a:cubicBezTo>
                    <a:pt x="118595" y="474764"/>
                    <a:pt x="92301" y="453981"/>
                    <a:pt x="84074" y="425625"/>
                  </a:cubicBezTo>
                  <a:lnTo>
                    <a:pt x="21485" y="425625"/>
                  </a:lnTo>
                  <a:cubicBezTo>
                    <a:pt x="14871" y="425625"/>
                    <a:pt x="8902" y="423048"/>
                    <a:pt x="4869" y="418214"/>
                  </a:cubicBezTo>
                  <a:cubicBezTo>
                    <a:pt x="836" y="413542"/>
                    <a:pt x="-777" y="407420"/>
                    <a:pt x="352" y="400814"/>
                  </a:cubicBezTo>
                  <a:lnTo>
                    <a:pt x="15516" y="309304"/>
                  </a:lnTo>
                  <a:cubicBezTo>
                    <a:pt x="17613" y="296576"/>
                    <a:pt x="29066" y="284332"/>
                    <a:pt x="41649" y="281593"/>
                  </a:cubicBezTo>
                  <a:lnTo>
                    <a:pt x="95850" y="269348"/>
                  </a:lnTo>
                  <a:cubicBezTo>
                    <a:pt x="105690" y="267093"/>
                    <a:pt x="119241" y="258554"/>
                    <a:pt x="125532" y="250660"/>
                  </a:cubicBezTo>
                  <a:lnTo>
                    <a:pt x="181992" y="179771"/>
                  </a:lnTo>
                  <a:cubicBezTo>
                    <a:pt x="189735" y="169943"/>
                    <a:pt x="205544" y="162371"/>
                    <a:pt x="217965" y="162371"/>
                  </a:cubicBezTo>
                  <a:close/>
                  <a:moveTo>
                    <a:pt x="168447" y="0"/>
                  </a:moveTo>
                  <a:cubicBezTo>
                    <a:pt x="200068" y="0"/>
                    <a:pt x="227011" y="19493"/>
                    <a:pt x="238143" y="47040"/>
                  </a:cubicBezTo>
                  <a:lnTo>
                    <a:pt x="416257" y="47040"/>
                  </a:lnTo>
                  <a:cubicBezTo>
                    <a:pt x="418193" y="47040"/>
                    <a:pt x="419968" y="47202"/>
                    <a:pt x="421743" y="47524"/>
                  </a:cubicBezTo>
                  <a:cubicBezTo>
                    <a:pt x="432875" y="19815"/>
                    <a:pt x="459979" y="0"/>
                    <a:pt x="491762" y="0"/>
                  </a:cubicBezTo>
                  <a:cubicBezTo>
                    <a:pt x="518543" y="0"/>
                    <a:pt x="543550" y="14499"/>
                    <a:pt x="556941" y="37858"/>
                  </a:cubicBezTo>
                  <a:cubicBezTo>
                    <a:pt x="558232" y="39952"/>
                    <a:pt x="558877" y="43335"/>
                    <a:pt x="557103" y="46396"/>
                  </a:cubicBezTo>
                  <a:cubicBezTo>
                    <a:pt x="555651" y="48812"/>
                    <a:pt x="552908" y="50262"/>
                    <a:pt x="549520" y="50262"/>
                  </a:cubicBezTo>
                  <a:cubicBezTo>
                    <a:pt x="549520" y="50262"/>
                    <a:pt x="513703" y="50423"/>
                    <a:pt x="500635" y="50423"/>
                  </a:cubicBezTo>
                  <a:cubicBezTo>
                    <a:pt x="497731" y="50423"/>
                    <a:pt x="496279" y="52357"/>
                    <a:pt x="496279" y="52357"/>
                  </a:cubicBezTo>
                  <a:lnTo>
                    <a:pt x="495957" y="52840"/>
                  </a:lnTo>
                  <a:cubicBezTo>
                    <a:pt x="489019" y="60895"/>
                    <a:pt x="481275" y="71366"/>
                    <a:pt x="479823" y="75071"/>
                  </a:cubicBezTo>
                  <a:cubicBezTo>
                    <a:pt x="481275" y="78777"/>
                    <a:pt x="489019" y="89087"/>
                    <a:pt x="495634" y="97142"/>
                  </a:cubicBezTo>
                  <a:lnTo>
                    <a:pt x="495957" y="97625"/>
                  </a:lnTo>
                  <a:cubicBezTo>
                    <a:pt x="496441" y="98269"/>
                    <a:pt x="498054" y="99719"/>
                    <a:pt x="499345" y="99719"/>
                  </a:cubicBezTo>
                  <a:cubicBezTo>
                    <a:pt x="511929" y="99719"/>
                    <a:pt x="549520" y="99880"/>
                    <a:pt x="549520" y="99880"/>
                  </a:cubicBezTo>
                  <a:cubicBezTo>
                    <a:pt x="552747" y="99880"/>
                    <a:pt x="555489" y="101491"/>
                    <a:pt x="556941" y="104069"/>
                  </a:cubicBezTo>
                  <a:cubicBezTo>
                    <a:pt x="558393" y="106485"/>
                    <a:pt x="558393" y="109868"/>
                    <a:pt x="556941" y="112285"/>
                  </a:cubicBezTo>
                  <a:cubicBezTo>
                    <a:pt x="543550" y="135644"/>
                    <a:pt x="518543" y="150304"/>
                    <a:pt x="491762" y="150304"/>
                  </a:cubicBezTo>
                  <a:cubicBezTo>
                    <a:pt x="459979" y="150304"/>
                    <a:pt x="432875" y="130489"/>
                    <a:pt x="421743" y="102780"/>
                  </a:cubicBezTo>
                  <a:cubicBezTo>
                    <a:pt x="419968" y="103102"/>
                    <a:pt x="418193" y="103263"/>
                    <a:pt x="416257" y="103263"/>
                  </a:cubicBezTo>
                  <a:lnTo>
                    <a:pt x="238143" y="103263"/>
                  </a:lnTo>
                  <a:cubicBezTo>
                    <a:pt x="227011" y="130811"/>
                    <a:pt x="200068" y="150304"/>
                    <a:pt x="168447" y="150304"/>
                  </a:cubicBezTo>
                  <a:cubicBezTo>
                    <a:pt x="141665" y="150304"/>
                    <a:pt x="116658" y="135805"/>
                    <a:pt x="103267" y="112446"/>
                  </a:cubicBezTo>
                  <a:cubicBezTo>
                    <a:pt x="101977" y="110352"/>
                    <a:pt x="101331" y="106969"/>
                    <a:pt x="103106" y="103908"/>
                  </a:cubicBezTo>
                  <a:cubicBezTo>
                    <a:pt x="104558" y="101330"/>
                    <a:pt x="107301" y="99880"/>
                    <a:pt x="110689" y="99880"/>
                  </a:cubicBezTo>
                  <a:cubicBezTo>
                    <a:pt x="110689" y="99880"/>
                    <a:pt x="146505" y="99880"/>
                    <a:pt x="159573" y="99880"/>
                  </a:cubicBezTo>
                  <a:cubicBezTo>
                    <a:pt x="162477" y="99880"/>
                    <a:pt x="163929" y="98108"/>
                    <a:pt x="164091" y="97786"/>
                  </a:cubicBezTo>
                  <a:lnTo>
                    <a:pt x="164252" y="97464"/>
                  </a:lnTo>
                  <a:cubicBezTo>
                    <a:pt x="171189" y="89248"/>
                    <a:pt x="178933" y="78777"/>
                    <a:pt x="180385" y="75232"/>
                  </a:cubicBezTo>
                  <a:cubicBezTo>
                    <a:pt x="178933" y="71527"/>
                    <a:pt x="171189" y="61217"/>
                    <a:pt x="164575" y="53162"/>
                  </a:cubicBezTo>
                  <a:lnTo>
                    <a:pt x="164252" y="52679"/>
                  </a:lnTo>
                  <a:cubicBezTo>
                    <a:pt x="163768" y="52034"/>
                    <a:pt x="162155" y="50423"/>
                    <a:pt x="160864" y="50423"/>
                  </a:cubicBezTo>
                  <a:lnTo>
                    <a:pt x="160541" y="50423"/>
                  </a:lnTo>
                  <a:cubicBezTo>
                    <a:pt x="147796" y="50423"/>
                    <a:pt x="110689" y="50262"/>
                    <a:pt x="110689" y="50262"/>
                  </a:cubicBezTo>
                  <a:cubicBezTo>
                    <a:pt x="107462" y="50262"/>
                    <a:pt x="104719" y="48812"/>
                    <a:pt x="103267" y="46235"/>
                  </a:cubicBezTo>
                  <a:cubicBezTo>
                    <a:pt x="101815" y="43657"/>
                    <a:pt x="101654" y="40435"/>
                    <a:pt x="103267" y="37858"/>
                  </a:cubicBezTo>
                  <a:cubicBezTo>
                    <a:pt x="116497" y="14499"/>
                    <a:pt x="141665" y="0"/>
                    <a:pt x="168447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46263" y="3823307"/>
              <a:ext cx="2202035" cy="571512"/>
              <a:chOff x="3173814" y="3758441"/>
              <a:chExt cx="2202035" cy="571512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3173814" y="3835621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设计能力</a:t>
                </a:r>
              </a:p>
            </p:txBody>
          </p: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2587301" y="1636679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r">
                <a:lnSpc>
                  <a:spcPct val="120000"/>
                </a:lnSpc>
              </a:pP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358084"/>
              <a:ext cx="2042181" cy="571511"/>
              <a:chOff x="8294591" y="1935010"/>
              <a:chExt cx="2042181" cy="571511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8861145" y="1975210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高语言表达能力</a:t>
                </a:r>
              </a:p>
            </p:txBody>
          </p: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3111771"/>
              <a:ext cx="2240903" cy="788716"/>
              <a:chOff x="8294591" y="1935010"/>
              <a:chExt cx="2240903" cy="78871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16221" y="1935010"/>
                <a:ext cx="1519273" cy="788716"/>
                <a:chOff x="4200208" y="2958531"/>
                <a:chExt cx="1519273" cy="788716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00208" y="2958531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多了解新的技术框架</a:t>
                  </a: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788709"/>
              <a:chOff x="8294591" y="1717812"/>
              <a:chExt cx="2240904" cy="788709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9059868" y="1717812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代码的可读性</a:t>
                </a:r>
              </a:p>
            </p:txBody>
          </p: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425099" y="4533499"/>
            <a:ext cx="9341802" cy="3108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425099" y="4237228"/>
            <a:ext cx="9341802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146681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介绍微应用功能点，和所负责的模块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241645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介绍车网功能点，和所负责的功能开发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期间学会了什么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自身有什么不足需要完善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3" y="1466819"/>
              <a:ext cx="1639769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一：微应用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3" y="2416459"/>
              <a:ext cx="1639769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二：车网</a:t>
              </a:r>
              <a:endParaRPr lang="id-ID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3366099"/>
              <a:ext cx="1639768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掌握点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4315739"/>
              <a:ext cx="1639768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不足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5265379"/>
              <a:ext cx="1639768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职业规划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谢谢观看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微应用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" name="文本占位符 5">
            <a:extLst>
              <a:ext uri="{FF2B5EF4-FFF2-40B4-BE49-F238E27FC236}">
                <a16:creationId xmlns:a16="http://schemas.microsoft.com/office/drawing/2014/main" id="{43FFADBF-F350-EC2B-E10D-71FFBB0412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本人所负责的模块的</a:t>
            </a: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开发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57D2579-2A25-4795-A316-D64C845E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20240"/>
            <a:ext cx="10776642" cy="4417519"/>
            <a:chOff x="743846" y="1175913"/>
            <a:chExt cx="10776642" cy="441751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1600" b="1" dirty="0">
                    <a:cs typeface="+mn-ea"/>
                    <a:sym typeface="+mn-lt"/>
                  </a:rPr>
                  <a:t>部分新增需求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735770" y="291312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测试版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3867830" y="117591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69161" y="2965651"/>
              <a:ext cx="1706889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85000" lnSpcReduction="100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厂商信息</a:t>
              </a:r>
              <a:r>
                <a:rPr lang="en-US" altLang="zh-CN" sz="1600" b="1" dirty="0">
                  <a:cs typeface="+mn-ea"/>
                  <a:sym typeface="+mn-lt"/>
                </a:rPr>
                <a:t>excel</a:t>
              </a:r>
              <a:r>
                <a:rPr lang="zh-CN" altLang="en-US" sz="1600" b="1" dirty="0">
                  <a:cs typeface="+mn-ea"/>
                  <a:sym typeface="+mn-lt"/>
                </a:rPr>
                <a:t>导入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21077" y="294023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批量生成注册码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15934" y="2484510"/>
              <a:ext cx="414046" cy="414046"/>
              <a:chOff x="4259593" y="5526909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59593" y="552690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385934" y="5672047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15582" y="2481428"/>
              <a:ext cx="414046" cy="414046"/>
              <a:chOff x="4314107" y="5521639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314107" y="552163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40448" y="564843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375289" y="2481427"/>
              <a:ext cx="414046" cy="414046"/>
              <a:chOff x="4166414" y="5521637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166414" y="5521637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292755" y="5674176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采集</a:t>
              </a:r>
              <a:r>
                <a:rPr lang="en-US" altLang="zh-CN" sz="1600" b="1" dirty="0">
                  <a:cs typeface="+mn-ea"/>
                  <a:sym typeface="+mn-lt"/>
                </a:rPr>
                <a:t>2.0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73707" y="476406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664153" y="4505860"/>
              <a:ext cx="2056924" cy="370980"/>
            </a:xfrm>
            <a:prstGeom prst="rect">
              <a:avLst/>
            </a:prstGeom>
          </p:spPr>
          <p:txBody>
            <a:bodyPr wrap="square" lIns="91440" tIns="45720" rIns="91440" bIns="45720">
              <a:no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ESAM </a:t>
              </a:r>
              <a:r>
                <a:rPr lang="zh-CN" altLang="en-US" sz="1600" b="1" dirty="0">
                  <a:cs typeface="+mn-ea"/>
                  <a:sym typeface="+mn-lt"/>
                </a:rPr>
                <a:t>文件大写转化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925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取消文件上传限制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车网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本人所负责的模块的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模块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86FBD3-EB40-4ED0-92C7-368944133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聚合单元数据统计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桩实时接口接收，存储，统计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712626" y="242184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桩实时数据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数据展示，存储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687663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需求响应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38288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新增，修改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历史数据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38288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签约关系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查询，存储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运营商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在这</a:t>
            </a:r>
            <a:r>
              <a:rPr lang="en-US" altLang="zh-CN" dirty="0">
                <a:cs typeface="+mn-ea"/>
                <a:sym typeface="+mn-lt"/>
              </a:rPr>
              <a:t>3</a:t>
            </a:r>
            <a:r>
              <a:rPr lang="zh-CN" altLang="en-US" dirty="0">
                <a:cs typeface="+mn-ea"/>
                <a:sym typeface="+mn-lt"/>
              </a:rPr>
              <a:t>个月中学到了什么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F85C6DB-D162-4530-841A-387AEA173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业务描述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问题表达</a:t>
              </a:r>
              <a:endParaRPr lang="en-US" altLang="zh-CN" sz="1000" dirty="0">
                <a:cs typeface="+mn-ea"/>
                <a:sym typeface="+mn-lt"/>
              </a:endParaRPr>
            </a:p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12634" y="4856099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语言表达能力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对业务了解更深刻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对业务中可能存在问题考虑的更多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业务问题考虑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3"/>
              <a:ext cx="2739853" cy="772316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利用缓存 缓解压力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 err="1">
                  <a:cs typeface="+mn-ea"/>
                  <a:sym typeface="+mn-lt"/>
                </a:rPr>
                <a:t>Hbase</a:t>
              </a:r>
              <a:r>
                <a:rPr lang="en-US" altLang="zh-CN" sz="1000" dirty="0">
                  <a:cs typeface="+mn-ea"/>
                  <a:sym typeface="+mn-lt"/>
                </a:rPr>
                <a:t> 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堆溢出代码优化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3" y="2301448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大数据量存储方案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dirty="0">
                  <a:cs typeface="+mn-ea"/>
                  <a:sym typeface="+mn-lt"/>
                </a:rPr>
                <a:t>在这三个月中主要提升点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自我反省存在的问题，和改进方向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customXml/itemProps2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8</TotalTime>
  <Words>288</Words>
  <Application>Microsoft Office PowerPoint</Application>
  <PresentationFormat>宽屏</PresentationFormat>
  <Paragraphs>88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8" baseType="lpstr">
      <vt:lpstr>等线</vt:lpstr>
      <vt:lpstr>Arial</vt:lpstr>
      <vt:lpstr>Calibri</vt:lpstr>
      <vt:lpstr>主题5</vt:lpstr>
      <vt:lpstr>think-cell Slide</vt:lpstr>
      <vt:lpstr>述职答辩  答辩人：陈仲贤</vt:lpstr>
      <vt:lpstr>PowerPoint 演示文稿</vt:lpstr>
      <vt:lpstr>微应用</vt:lpstr>
      <vt:lpstr>负责开发</vt:lpstr>
      <vt:lpstr>车网</vt:lpstr>
      <vt:lpstr>负责模块</vt:lpstr>
      <vt:lpstr>提升点</vt:lpstr>
      <vt:lpstr>提升点</vt:lpstr>
      <vt:lpstr>不足之处</vt:lpstr>
      <vt:lpstr>不足之处</vt:lpstr>
      <vt:lpstr>未来规划</vt:lpstr>
      <vt:lpstr>未来规划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 仲贤</cp:lastModifiedBy>
  <cp:revision>37</cp:revision>
  <cp:lastPrinted>2020-02-17T16:00:00Z</cp:lastPrinted>
  <dcterms:created xsi:type="dcterms:W3CDTF">2020-02-17T16:00:00Z</dcterms:created>
  <dcterms:modified xsi:type="dcterms:W3CDTF">2022-10-11T03:4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